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  <p:sldMasterId id="2147483691" r:id="rId6"/>
    <p:sldMasterId id="2147483707" r:id="rId7"/>
    <p:sldMasterId id="2147483724" r:id="rId8"/>
  </p:sldMasterIdLst>
  <p:notesMasterIdLst>
    <p:notesMasterId r:id="rId12"/>
  </p:notesMasterIdLst>
  <p:sldIdLst>
    <p:sldId id="2146845376" r:id="rId9"/>
    <p:sldId id="2146845398" r:id="rId10"/>
    <p:sldId id="2146845399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reth Allott" initials="GA" lastIdx="1" clrIdx="0">
    <p:extLst>
      <p:ext uri="{19B8F6BF-5375-455C-9EA6-DF929625EA0E}">
        <p15:presenceInfo xmlns:p15="http://schemas.microsoft.com/office/powerpoint/2012/main" userId="S::gareth.allott@veeva.com::d67bc1e7-5e6e-4540-bcf9-468a02f7a83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B8C46"/>
    <a:srgbClr val="C63044"/>
    <a:srgbClr val="008986"/>
    <a:srgbClr val="8CA509"/>
    <a:srgbClr val="A15699"/>
    <a:srgbClr val="8EA809"/>
    <a:srgbClr val="000000"/>
    <a:srgbClr val="C1B29C"/>
    <a:srgbClr val="585858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10"/>
    <p:restoredTop sz="94648"/>
  </p:normalViewPr>
  <p:slideViewPr>
    <p:cSldViewPr snapToGrid="0" snapToObjects="1">
      <p:cViewPr varScale="1">
        <p:scale>
          <a:sx n="117" d="100"/>
          <a:sy n="117" d="100"/>
        </p:scale>
        <p:origin x="360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CE895C-CFD7-4F98-8A19-2E8E3E1D1E68}" type="datetimeFigureOut">
              <a:rPr lang="en-GB" smtClean="0"/>
              <a:t>30/03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A5F5EB-E4E0-4709-9BD7-A22EE9051C1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44650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.docx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14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4144176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908485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42376601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70430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5CBCD1-B062-F44F-A67F-EA840BD1A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303" y="240653"/>
            <a:ext cx="11639394" cy="1101213"/>
          </a:xfrm>
        </p:spPr>
        <p:txBody>
          <a:bodyPr/>
          <a:lstStyle/>
          <a:p>
            <a:r>
              <a:rPr lang="en-US"/>
              <a:t>Standard Title Only</a:t>
            </a:r>
          </a:p>
        </p:txBody>
      </p:sp>
    </p:spTree>
    <p:extLst>
      <p:ext uri="{BB962C8B-B14F-4D97-AF65-F5344CB8AC3E}">
        <p14:creationId xmlns:p14="http://schemas.microsoft.com/office/powerpoint/2010/main" val="153381952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62013"/>
      </p:ext>
    </p:extLst>
  </p:cSld>
  <p:clrMapOvr>
    <a:masterClrMapping/>
  </p:clrMapOvr>
  <p:transition>
    <p:wipe dir="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9182640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7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97464568"/>
      </p:ext>
    </p:extLst>
  </p:cSld>
  <p:clrMapOvr>
    <a:masterClrMapping/>
  </p:clrMapOvr>
  <p:transition>
    <p:wipe dir="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5980540"/>
      </p:ext>
    </p:extLst>
  </p:cSld>
  <p:clrMapOvr>
    <a:masterClrMapping/>
  </p:clrMapOvr>
  <p:transition>
    <p:wipe dir="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37391959"/>
      </p:ext>
    </p:extLst>
  </p:cSld>
  <p:clrMapOvr>
    <a:masterClrMapping/>
  </p:clrMapOvr>
  <p:transition>
    <p:wipe dir="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897445"/>
      </p:ext>
    </p:extLst>
  </p:cSld>
  <p:clrMapOvr>
    <a:masterClrMapping/>
  </p:clrMapOvr>
  <p:transition>
    <p:wipe dir="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80737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3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40293520"/>
      </p:ext>
    </p:extLst>
  </p:cSld>
  <p:clrMapOvr>
    <a:masterClrMapping/>
  </p:clrMapOvr>
  <p:transition>
    <p:wipe dir="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125635"/>
      </p:ext>
    </p:extLst>
  </p:cSld>
  <p:clrMapOvr>
    <a:masterClrMapping/>
  </p:clrMapOvr>
  <p:transition>
    <p:wipe dir="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6513813"/>
      </p:ext>
    </p:extLst>
  </p:cSld>
  <p:clrMapOvr>
    <a:masterClrMapping/>
  </p:clrMapOvr>
  <p:transition>
    <p:wipe dir="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5833329"/>
      </p:ext>
    </p:extLst>
  </p:cSld>
  <p:clrMapOvr>
    <a:masterClrMapping/>
  </p:clrMapOvr>
  <p:transition>
    <p:wipe dir="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3067298"/>
      </p:ext>
    </p:extLst>
  </p:cSld>
  <p:clrMapOvr>
    <a:masterClrMapping/>
  </p:clrMapOvr>
  <p:transition>
    <p:wipe dir="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77482458"/>
      </p:ext>
    </p:extLst>
  </p:cSld>
  <p:clrMapOvr>
    <a:masterClrMapping/>
  </p:clrMapOvr>
  <p:transition>
    <p:wipe dir="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with title">
  <p:cSld name="Slide with titl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g965bc97c8f_1_118"/>
          <p:cNvSpPr txBox="1">
            <a:spLocks noGrp="1"/>
          </p:cNvSpPr>
          <p:nvPr>
            <p:ph type="title"/>
          </p:nvPr>
        </p:nvSpPr>
        <p:spPr>
          <a:xfrm>
            <a:off x="358775" y="451456"/>
            <a:ext cx="106944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g965bc97c8f_1_118"/>
          <p:cNvSpPr txBox="1">
            <a:spLocks noGrp="1"/>
          </p:cNvSpPr>
          <p:nvPr>
            <p:ph type="sldNum" idx="12"/>
          </p:nvPr>
        </p:nvSpPr>
        <p:spPr>
          <a:xfrm>
            <a:off x="11053315" y="451455"/>
            <a:ext cx="9099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55007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745275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6303" y="96277"/>
            <a:ext cx="11639394" cy="1101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26624" y="1066800"/>
            <a:ext cx="10538752" cy="5410200"/>
          </a:xfrm>
        </p:spPr>
        <p:txBody>
          <a:bodyPr/>
          <a:lstStyle>
            <a:lvl1pPr>
              <a:lnSpc>
                <a:spcPct val="80000"/>
              </a:lnSpc>
              <a:spcBef>
                <a:spcPts val="999"/>
              </a:spcBef>
              <a:defRPr/>
            </a:lvl1pPr>
            <a:lvl2pPr>
              <a:lnSpc>
                <a:spcPct val="80000"/>
              </a:lnSpc>
              <a:spcBef>
                <a:spcPts val="599"/>
              </a:spcBef>
              <a:defRPr/>
            </a:lvl2pPr>
            <a:lvl3pPr>
              <a:lnSpc>
                <a:spcPct val="80000"/>
              </a:lnSpc>
              <a:spcBef>
                <a:spcPts val="599"/>
              </a:spcBef>
              <a:defRPr/>
            </a:lvl3pPr>
            <a:lvl4pPr>
              <a:lnSpc>
                <a:spcPct val="80000"/>
              </a:lnSpc>
              <a:spcBef>
                <a:spcPts val="599"/>
              </a:spcBef>
              <a:defRPr/>
            </a:lvl4pPr>
            <a:lvl5pPr>
              <a:lnSpc>
                <a:spcPct val="80000"/>
              </a:lnSpc>
              <a:spcBef>
                <a:spcPts val="59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247235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631148"/>
            <a:ext cx="9144000" cy="2387600"/>
          </a:xfrm>
        </p:spPr>
        <p:txBody>
          <a:bodyPr anchor="b"/>
          <a:lstStyle>
            <a:lvl1pPr algn="ctr">
              <a:defRPr sz="5395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Break Titl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5543" y="3930200"/>
            <a:ext cx="10580914" cy="892630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3596">
                <a:solidFill>
                  <a:schemeClr val="tx2">
                    <a:lumMod val="20000"/>
                    <a:lumOff val="8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8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4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0" indent="0" algn="ctr">
              <a:buNone/>
              <a:defRPr sz="1598"/>
            </a:lvl8pPr>
            <a:lvl9pPr marL="3653942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ECAA157B-F801-49EE-9C3F-93880E630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1942167" y="1108892"/>
            <a:ext cx="8264422" cy="1534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77434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D87EC-C401-AC47-B125-2124B5F4E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0DFA45-94D6-A04C-BC41-D8638C36BD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E127E15-212D-2A4D-8C5A-B6ABED2A73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C9619B-2AE5-564D-AF08-FA5945562B0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E11ECE7-7AC7-DD4E-97DC-BD4FEBDE93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203325"/>
            <a:ext cx="10972800" cy="5762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800" cap="all" baseline="0"/>
            </a:lvl1pPr>
          </a:lstStyle>
          <a:p>
            <a:pPr lvl="0"/>
            <a:r>
              <a:rPr lang="en-US"/>
              <a:t>Vestibulum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lat. </a:t>
            </a:r>
            <a:r>
              <a:rPr lang="en-US" err="1"/>
              <a:t>Undaessimus</a:t>
            </a:r>
            <a:r>
              <a:rPr lang="en-US"/>
              <a:t> rerum </a:t>
            </a:r>
            <a:r>
              <a:rPr lang="en-US" err="1"/>
              <a:t>verferumquas</a:t>
            </a:r>
            <a:r>
              <a:rPr lang="en-US"/>
              <a:t> </a:t>
            </a:r>
            <a:r>
              <a:rPr lang="en-US" err="1"/>
              <a:t>nulliquas</a:t>
            </a:r>
            <a:r>
              <a:rPr lang="en-US"/>
              <a:t> </a:t>
            </a:r>
            <a:r>
              <a:rPr lang="en-US" err="1"/>
              <a:t>estis</a:t>
            </a:r>
            <a:r>
              <a:rPr lang="en-US"/>
              <a:t> </a:t>
            </a:r>
            <a:r>
              <a:rPr lang="en-US" err="1"/>
              <a:t>explani</a:t>
            </a:r>
            <a:r>
              <a:rPr lang="en-US"/>
              <a:t> </a:t>
            </a:r>
            <a:r>
              <a:rPr lang="en-US" err="1"/>
              <a:t>hicimpe</a:t>
            </a:r>
            <a:r>
              <a:rPr lang="en-US"/>
              <a:t> </a:t>
            </a:r>
            <a:r>
              <a:rPr lang="en-US" err="1"/>
              <a:t>dicaborro</a:t>
            </a:r>
            <a:r>
              <a:rPr lang="en-US"/>
              <a:t> </a:t>
            </a:r>
            <a:r>
              <a:rPr lang="en-US" err="1"/>
              <a:t>officid</a:t>
            </a:r>
            <a:r>
              <a:rPr lang="en-US"/>
              <a:t> </a:t>
            </a:r>
            <a:r>
              <a:rPr lang="en-US" err="1"/>
              <a:t>unt</a:t>
            </a:r>
            <a:r>
              <a:rPr lang="en-US"/>
              <a:t> mil </a:t>
            </a:r>
            <a:r>
              <a:rPr lang="en-US" err="1"/>
              <a:t>e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268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534527"/>
      </p:ext>
    </p:extLst>
  </p:cSld>
  <p:clrMapOvr>
    <a:masterClrMapping/>
  </p:clrMapOvr>
  <p:transition>
    <p:wipe dir="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6128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1922775"/>
      </p:ext>
    </p:extLst>
  </p:cSld>
  <p:clrMapOvr>
    <a:masterClrMapping/>
  </p:clrMapOvr>
  <p:transition>
    <p:wipe dir="d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061055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1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35760966"/>
      </p:ext>
    </p:extLst>
  </p:cSld>
  <p:clrMapOvr>
    <a:masterClrMapping/>
  </p:clrMapOvr>
  <p:transition>
    <p:wipe dir="d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7246307"/>
      </p:ext>
    </p:extLst>
  </p:cSld>
  <p:clrMapOvr>
    <a:masterClrMapping/>
  </p:clrMapOvr>
  <p:transition>
    <p:wipe dir="d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97031920"/>
      </p:ext>
    </p:extLst>
  </p:cSld>
  <p:clrMapOvr>
    <a:masterClrMapping/>
  </p:clrMapOvr>
  <p:transition>
    <p:wipe dir="d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3649008"/>
      </p:ext>
    </p:extLst>
  </p:cSld>
  <p:clrMapOvr>
    <a:masterClrMapping/>
  </p:clrMapOvr>
  <p:transition>
    <p:wipe dir="d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 cstate="email">
            <a:alphaModFix amt="1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55006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8958090"/>
      </p:ext>
    </p:extLst>
  </p:cSld>
  <p:clrMapOvr>
    <a:masterClrMapping/>
  </p:clrMapOvr>
  <p:transition>
    <p:wipe dir="d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7067485"/>
      </p:ext>
    </p:extLst>
  </p:cSld>
  <p:clrMapOvr>
    <a:masterClrMapping/>
  </p:clrMapOvr>
  <p:transition>
    <p:wipe dir="d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747087"/>
      </p:ext>
    </p:extLst>
  </p:cSld>
  <p:clrMapOvr>
    <a:masterClrMapping/>
  </p:clrMapOvr>
  <p:transition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171081"/>
      </p:ext>
    </p:extLst>
  </p:cSld>
  <p:clrMapOvr>
    <a:masterClrMapping/>
  </p:clrMapOvr>
  <p:transition>
    <p:wipe dir="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939029"/>
      </p:ext>
    </p:extLst>
  </p:cSld>
  <p:clrMapOvr>
    <a:masterClrMapping/>
  </p:clrMapOvr>
  <p:transition>
    <p:wipe dir="d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8283291"/>
      </p:ext>
    </p:extLst>
  </p:cSld>
  <p:clrMapOvr>
    <a:masterClrMapping/>
  </p:clrMapOvr>
  <p:transition>
    <p:wipe dir="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with title">
  <p:cSld name="Slide with titl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g965bc97c8f_1_118"/>
          <p:cNvSpPr txBox="1">
            <a:spLocks noGrp="1"/>
          </p:cNvSpPr>
          <p:nvPr>
            <p:ph type="title"/>
          </p:nvPr>
        </p:nvSpPr>
        <p:spPr>
          <a:xfrm>
            <a:off x="358775" y="451456"/>
            <a:ext cx="106944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g965bc97c8f_1_118"/>
          <p:cNvSpPr txBox="1">
            <a:spLocks noGrp="1"/>
          </p:cNvSpPr>
          <p:nvPr>
            <p:ph type="sldNum" idx="12"/>
          </p:nvPr>
        </p:nvSpPr>
        <p:spPr>
          <a:xfrm>
            <a:off x="11053315" y="451455"/>
            <a:ext cx="9099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49058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9466159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631148"/>
            <a:ext cx="9144000" cy="2387600"/>
          </a:xfrm>
        </p:spPr>
        <p:txBody>
          <a:bodyPr anchor="b"/>
          <a:lstStyle>
            <a:lvl1pPr algn="ctr">
              <a:defRPr sz="5395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Break Titl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5543" y="3930200"/>
            <a:ext cx="10580914" cy="892630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3596">
                <a:solidFill>
                  <a:schemeClr val="tx2">
                    <a:lumMod val="20000"/>
                    <a:lumOff val="8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8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4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0" indent="0" algn="ctr">
              <a:buNone/>
              <a:defRPr sz="1598"/>
            </a:lvl8pPr>
            <a:lvl9pPr marL="3653942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5645986" y="1412969"/>
            <a:ext cx="900028" cy="914400"/>
            <a:chOff x="5127584" y="2099392"/>
            <a:chExt cx="555329" cy="564197"/>
          </a:xfrm>
        </p:grpSpPr>
        <p:sp>
          <p:nvSpPr>
            <p:cNvPr id="23" name="Freeform 18"/>
            <p:cNvSpPr>
              <a:spLocks/>
            </p:cNvSpPr>
            <p:nvPr userDrawn="1"/>
          </p:nvSpPr>
          <p:spPr bwMode="auto">
            <a:xfrm>
              <a:off x="5127584" y="2099392"/>
              <a:ext cx="555329" cy="564197"/>
            </a:xfrm>
            <a:custGeom>
              <a:avLst/>
              <a:gdLst>
                <a:gd name="T0" fmla="*/ 0 w 1315"/>
                <a:gd name="T1" fmla="*/ 0 h 1336"/>
                <a:gd name="T2" fmla="*/ 229 w 1315"/>
                <a:gd name="T3" fmla="*/ 0 h 1336"/>
                <a:gd name="T4" fmla="*/ 659 w 1315"/>
                <a:gd name="T5" fmla="*/ 873 h 1336"/>
                <a:gd name="T6" fmla="*/ 1090 w 1315"/>
                <a:gd name="T7" fmla="*/ 0 h 1336"/>
                <a:gd name="T8" fmla="*/ 1315 w 1315"/>
                <a:gd name="T9" fmla="*/ 0 h 1336"/>
                <a:gd name="T10" fmla="*/ 659 w 1315"/>
                <a:gd name="T11" fmla="*/ 1336 h 1336"/>
                <a:gd name="T12" fmla="*/ 0 w 1315"/>
                <a:gd name="T13" fmla="*/ 0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5" h="1336">
                  <a:moveTo>
                    <a:pt x="0" y="0"/>
                  </a:moveTo>
                  <a:lnTo>
                    <a:pt x="229" y="0"/>
                  </a:lnTo>
                  <a:lnTo>
                    <a:pt x="659" y="873"/>
                  </a:lnTo>
                  <a:lnTo>
                    <a:pt x="1090" y="0"/>
                  </a:lnTo>
                  <a:lnTo>
                    <a:pt x="1315" y="0"/>
                  </a:lnTo>
                  <a:lnTo>
                    <a:pt x="659" y="13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auto">
            <a:xfrm>
              <a:off x="5279613" y="2099392"/>
              <a:ext cx="250848" cy="251270"/>
            </a:xfrm>
            <a:custGeom>
              <a:avLst/>
              <a:gdLst>
                <a:gd name="T0" fmla="*/ 0 w 135"/>
                <a:gd name="T1" fmla="*/ 0 h 135"/>
                <a:gd name="T2" fmla="*/ 68 w 135"/>
                <a:gd name="T3" fmla="*/ 135 h 135"/>
                <a:gd name="T4" fmla="*/ 135 w 135"/>
                <a:gd name="T5" fmla="*/ 0 h 135"/>
                <a:gd name="T6" fmla="*/ 0 w 135"/>
                <a:gd name="T7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5" h="135">
                  <a:moveTo>
                    <a:pt x="0" y="0"/>
                  </a:moveTo>
                  <a:cubicBezTo>
                    <a:pt x="68" y="135"/>
                    <a:pt x="68" y="135"/>
                    <a:pt x="68" y="135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5" y="0"/>
                    <a:pt x="0" y="0"/>
                    <a:pt x="0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</p:grpSp>
    </p:spTree>
    <p:extLst>
      <p:ext uri="{BB962C8B-B14F-4D97-AF65-F5344CB8AC3E}">
        <p14:creationId xmlns:p14="http://schemas.microsoft.com/office/powerpoint/2010/main" val="1262272745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orang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/>
          <p:cNvGraphicFramePr>
            <a:graphicFrameLocks noChangeAspect="1"/>
          </p:cNvGraphicFramePr>
          <p:nvPr userDrawn="1"/>
        </p:nvGraphicFramePr>
        <p:xfrm>
          <a:off x="1524000" y="3346450"/>
          <a:ext cx="9144000" cy="165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5" name="Document" r:id="rId3" imgW="6858000" imgH="165100" progId="Word.Document.12">
                  <p:embed/>
                </p:oleObj>
              </mc:Choice>
              <mc:Fallback>
                <p:oleObj name="Document" r:id="rId3" imgW="6858000" imgH="165100" progId="Word.Document.12">
                  <p:embed/>
                  <p:pic>
                    <p:nvPicPr>
                      <p:cNvPr id="4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3346450"/>
                        <a:ext cx="9144000" cy="165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0"/>
          </p:nvPr>
        </p:nvSpPr>
        <p:spPr>
          <a:xfrm>
            <a:off x="609600" y="1298448"/>
            <a:ext cx="10972800" cy="5029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7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4665991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158683"/>
      </p:ext>
    </p:extLst>
  </p:cSld>
  <p:clrMapOvr>
    <a:masterClrMapping/>
  </p:clrMapOvr>
  <p:transition>
    <p:wipe dir="d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6838184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9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77193289"/>
      </p:ext>
    </p:extLst>
  </p:cSld>
  <p:clrMapOvr>
    <a:masterClrMapping/>
  </p:clrMapOvr>
  <p:transition>
    <p:wipe dir="d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208557"/>
      </p:ext>
    </p:extLst>
  </p:cSld>
  <p:clrMapOvr>
    <a:masterClrMapping/>
  </p:clrMapOvr>
  <p:transition>
    <p:wipe dir="d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98325970"/>
      </p:ext>
    </p:extLst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5409673"/>
      </p:ext>
    </p:extLst>
  </p:cSld>
  <p:clrMapOvr>
    <a:masterClrMapping/>
  </p:clrMapOvr>
  <p:transition>
    <p:wipe dir="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4232175"/>
      </p:ext>
    </p:extLst>
  </p:cSld>
  <p:clrMapOvr>
    <a:masterClrMapping/>
  </p:clrMapOvr>
  <p:transition>
    <p:wipe dir="d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98192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861533"/>
      </p:ext>
    </p:extLst>
  </p:cSld>
  <p:clrMapOvr>
    <a:masterClrMapping/>
  </p:clrMapOvr>
  <p:transition>
    <p:wipe dir="d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88751"/>
      </p:ext>
    </p:extLst>
  </p:cSld>
  <p:clrMapOvr>
    <a:masterClrMapping/>
  </p:clrMapOvr>
  <p:transition>
    <p:wipe dir="d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740697"/>
      </p:ext>
    </p:extLst>
  </p:cSld>
  <p:clrMapOvr>
    <a:masterClrMapping/>
  </p:clrMapOvr>
  <p:transition>
    <p:wipe dir="d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670463"/>
      </p:ext>
    </p:extLst>
  </p:cSld>
  <p:clrMapOvr>
    <a:masterClrMapping/>
  </p:clrMapOvr>
  <p:transition>
    <p:wipe dir="d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02956381"/>
      </p:ext>
    </p:extLst>
  </p:cSld>
  <p:clrMapOvr>
    <a:masterClrMapping/>
  </p:clrMapOvr>
  <p:transition>
    <p:wipe dir="d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with title">
  <p:cSld name="Slide with titl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g965bc97c8f_1_118"/>
          <p:cNvSpPr txBox="1">
            <a:spLocks noGrp="1"/>
          </p:cNvSpPr>
          <p:nvPr>
            <p:ph type="title"/>
          </p:nvPr>
        </p:nvSpPr>
        <p:spPr>
          <a:xfrm>
            <a:off x="358775" y="451456"/>
            <a:ext cx="106944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g965bc97c8f_1_118"/>
          <p:cNvSpPr txBox="1">
            <a:spLocks noGrp="1"/>
          </p:cNvSpPr>
          <p:nvPr>
            <p:ph type="sldNum" idx="12"/>
          </p:nvPr>
        </p:nvSpPr>
        <p:spPr>
          <a:xfrm>
            <a:off x="11053315" y="451455"/>
            <a:ext cx="9099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37910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415280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6303" y="96277"/>
            <a:ext cx="11639394" cy="1101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26624" y="1066800"/>
            <a:ext cx="10538752" cy="5410200"/>
          </a:xfrm>
        </p:spPr>
        <p:txBody>
          <a:bodyPr/>
          <a:lstStyle>
            <a:lvl1pPr>
              <a:lnSpc>
                <a:spcPct val="80000"/>
              </a:lnSpc>
              <a:spcBef>
                <a:spcPts val="999"/>
              </a:spcBef>
              <a:defRPr/>
            </a:lvl1pPr>
            <a:lvl2pPr>
              <a:lnSpc>
                <a:spcPct val="80000"/>
              </a:lnSpc>
              <a:spcBef>
                <a:spcPts val="599"/>
              </a:spcBef>
              <a:defRPr/>
            </a:lvl2pPr>
            <a:lvl3pPr>
              <a:lnSpc>
                <a:spcPct val="80000"/>
              </a:lnSpc>
              <a:spcBef>
                <a:spcPts val="599"/>
              </a:spcBef>
              <a:defRPr/>
            </a:lvl3pPr>
            <a:lvl4pPr>
              <a:lnSpc>
                <a:spcPct val="80000"/>
              </a:lnSpc>
              <a:spcBef>
                <a:spcPts val="599"/>
              </a:spcBef>
              <a:defRPr/>
            </a:lvl4pPr>
            <a:lvl5pPr>
              <a:lnSpc>
                <a:spcPct val="80000"/>
              </a:lnSpc>
              <a:spcBef>
                <a:spcPts val="59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265174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67012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631148"/>
            <a:ext cx="9144000" cy="2387600"/>
          </a:xfrm>
        </p:spPr>
        <p:txBody>
          <a:bodyPr anchor="b"/>
          <a:lstStyle>
            <a:lvl1pPr algn="ctr">
              <a:defRPr sz="5395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Break Titl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5543" y="3930200"/>
            <a:ext cx="10580914" cy="892630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3596">
                <a:solidFill>
                  <a:schemeClr val="tx2">
                    <a:lumMod val="20000"/>
                    <a:lumOff val="8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8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4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0" indent="0" algn="ctr">
              <a:buNone/>
              <a:defRPr sz="1598"/>
            </a:lvl8pPr>
            <a:lvl9pPr marL="3653942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ECAA157B-F801-49EE-9C3F-93880E630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1942167" y="1108892"/>
            <a:ext cx="8264422" cy="1534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068779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D87EC-C401-AC47-B125-2124B5F4E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0DFA45-94D6-A04C-BC41-D8638C36BD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E127E15-212D-2A4D-8C5A-B6ABED2A73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C9619B-2AE5-564D-AF08-FA5945562B0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E11ECE7-7AC7-DD4E-97DC-BD4FEBDE93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203325"/>
            <a:ext cx="10972800" cy="5762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800" cap="all" baseline="0"/>
            </a:lvl1pPr>
          </a:lstStyle>
          <a:p>
            <a:pPr lvl="0"/>
            <a:r>
              <a:rPr lang="en-US"/>
              <a:t>Vestibulum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lat. </a:t>
            </a:r>
            <a:r>
              <a:rPr lang="en-US" err="1"/>
              <a:t>Undaessimus</a:t>
            </a:r>
            <a:r>
              <a:rPr lang="en-US"/>
              <a:t> rerum </a:t>
            </a:r>
            <a:r>
              <a:rPr lang="en-US" err="1"/>
              <a:t>verferumquas</a:t>
            </a:r>
            <a:r>
              <a:rPr lang="en-US"/>
              <a:t> </a:t>
            </a:r>
            <a:r>
              <a:rPr lang="en-US" err="1"/>
              <a:t>nulliquas</a:t>
            </a:r>
            <a:r>
              <a:rPr lang="en-US"/>
              <a:t> </a:t>
            </a:r>
            <a:r>
              <a:rPr lang="en-US" err="1"/>
              <a:t>estis</a:t>
            </a:r>
            <a:r>
              <a:rPr lang="en-US"/>
              <a:t> </a:t>
            </a:r>
            <a:r>
              <a:rPr lang="en-US" err="1"/>
              <a:t>explani</a:t>
            </a:r>
            <a:r>
              <a:rPr lang="en-US"/>
              <a:t> </a:t>
            </a:r>
            <a:r>
              <a:rPr lang="en-US" err="1"/>
              <a:t>hicimpe</a:t>
            </a:r>
            <a:r>
              <a:rPr lang="en-US"/>
              <a:t> </a:t>
            </a:r>
            <a:r>
              <a:rPr lang="en-US" err="1"/>
              <a:t>dicaborro</a:t>
            </a:r>
            <a:r>
              <a:rPr lang="en-US"/>
              <a:t> </a:t>
            </a:r>
            <a:r>
              <a:rPr lang="en-US" err="1"/>
              <a:t>officid</a:t>
            </a:r>
            <a:r>
              <a:rPr lang="en-US"/>
              <a:t> </a:t>
            </a:r>
            <a:r>
              <a:rPr lang="en-US" err="1"/>
              <a:t>unt</a:t>
            </a:r>
            <a:r>
              <a:rPr lang="en-US"/>
              <a:t> mil </a:t>
            </a:r>
            <a:r>
              <a:rPr lang="en-US" err="1"/>
              <a:t>e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48212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D4EC7FEB-3003-CF4D-A0F5-0CC93E0860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92277" y="5549296"/>
            <a:ext cx="2976331" cy="568003"/>
          </a:xfrm>
          <a:prstGeom prst="rect">
            <a:avLst/>
          </a:prstGeom>
        </p:spPr>
      </p:pic>
      <p:pic>
        <p:nvPicPr>
          <p:cNvPr id="12" name="Picture 11" descr="A picture containing computer&#10;&#10;Description automatically generated">
            <a:extLst>
              <a:ext uri="{FF2B5EF4-FFF2-40B4-BE49-F238E27FC236}">
                <a16:creationId xmlns:a16="http://schemas.microsoft.com/office/drawing/2014/main" id="{49E3826A-D34B-9245-A792-8736A1692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94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52133" y="2452620"/>
            <a:ext cx="7696200" cy="1119449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AFF936-6769-5E4F-9013-92A64286AAAC}"/>
              </a:ext>
            </a:extLst>
          </p:cNvPr>
          <p:cNvCxnSpPr>
            <a:cxnSpLocks/>
          </p:cNvCxnSpPr>
          <p:nvPr userDrawn="1"/>
        </p:nvCxnSpPr>
        <p:spPr>
          <a:xfrm>
            <a:off x="2252133" y="3572069"/>
            <a:ext cx="7696200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3AC4FD4-8040-1940-A5A6-CB21B9EFAD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52133" y="3750733"/>
            <a:ext cx="7696200" cy="524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4B34FC74-1D5B-C143-891E-3E826BD73F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2134" y="4592302"/>
            <a:ext cx="2742949" cy="2167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67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BAC81BB4-212F-F341-80DB-09B1016D3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2134" y="5857970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2486E00-792C-4543-B570-6D54CEF7D7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272768" y="886933"/>
            <a:ext cx="2759417" cy="759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01158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B60D4D6-C6A9-4342-AAFE-6F94FB21CA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3600" y="1797051"/>
            <a:ext cx="10464800" cy="2731407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3243E947-ECA8-1E4D-9828-568C2A74E4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1667"/>
            <a:ext cx="2491497" cy="1759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382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1342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363A195-CE96-D842-9603-C967A7C7DB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63083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E87BDDA0-37D6-374F-8CD6-794707DCF6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BF959AB0-4E19-5643-AEF5-198333A5FA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57F8215E-591F-2447-B058-033F7A5F49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5E04DBA0-A8F2-BD4F-B20A-C1A4AECA4F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5911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4D8C5D-2A98-6746-B2C9-B3F01796E6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0" name="Picture 9" descr="A picture containing food&#10;&#10;Description automatically generated">
            <a:extLst>
              <a:ext uri="{FF2B5EF4-FFF2-40B4-BE49-F238E27FC236}">
                <a16:creationId xmlns:a16="http://schemas.microsoft.com/office/drawing/2014/main" id="{7F4FAF77-E84D-2240-9062-F25F34D1198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6961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66E420-28E6-E142-B1C4-384F0C26A1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1797052"/>
            <a:ext cx="10464800" cy="4032249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2C1030D3-4C88-E241-BC5F-ED0CCACA76C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3980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D6F0515-DD29-764E-8F2E-9E615FCF45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10464800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D4328970-8600-5544-AFEF-04A9B4380F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72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3FD8C13-2F89-1242-A1B3-BF115D26F6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75789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6D42A49-1496-0E41-AAE2-53504FCBDB1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9581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214966"/>
      </p:ext>
    </p:extLst>
  </p:cSld>
  <p:clrMapOvr>
    <a:masterClrMapping/>
  </p:clrMapOvr>
  <p:transition>
    <p:wipe dir="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A2E0F9E-1B89-1A44-B589-26AED4514D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27579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790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D7E715AC-2F65-9D48-9C31-DC2EA363E1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F90011C-BABB-F147-886E-E51EC07CEE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3474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860CE29-A07C-E24F-86E6-33E3860C48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80434B-45BC-724F-86CA-DB078C27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A455E9F-B1B6-CC4B-ADB7-FE762C83FC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1" y="1797052"/>
            <a:ext cx="1046479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3D25DA-F533-E449-9C72-EFA5288FF9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A09709B-93D1-5846-BF92-D12943FA2C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7EF141EE-5539-1E48-B306-D1F0A8587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6E552D1-BAD2-FC4B-AD94-43053B4ABC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5" name="Picture 4" descr="A picture containing food&#10;&#10;Description automatically generated">
            <a:extLst>
              <a:ext uri="{FF2B5EF4-FFF2-40B4-BE49-F238E27FC236}">
                <a16:creationId xmlns:a16="http://schemas.microsoft.com/office/drawing/2014/main" id="{CF562FFE-D301-974C-A769-E835F8377A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561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37DF505-FAF6-7A4F-BDF3-BDD09CAE27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275790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468750AA-7237-184E-A7B9-579FE9B791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599" y="6436788"/>
            <a:ext cx="773253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35F48131-D77A-0B47-806E-66BEAA9F02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5" name="Picture 14" descr="A picture containing food&#10;&#10;Description automatically generated">
            <a:extLst>
              <a:ext uri="{FF2B5EF4-FFF2-40B4-BE49-F238E27FC236}">
                <a16:creationId xmlns:a16="http://schemas.microsoft.com/office/drawing/2014/main" id="{736730F5-6A73-044A-85F1-02198CFBF2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9381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62BA6798-D065-0746-BEBD-1923E07F6D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42736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3818016-5C96-2B44-884F-78BB62E2084C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30170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680852F8-925F-F747-9419-8ED70D56B8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767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98DD4382-CCED-7C4E-85DC-CA00337C4B3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1691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0E053E3C-116F-A740-8A63-D11633115E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8448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normalizeH="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C8EACA12-8FC8-D944-8F1A-2ED7D797F3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36755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5362241-D360-4341-B421-C79188810A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7189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9014FE69-157F-3845-AA60-171FEC9222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9" name="Picture 28" descr="A picture containing food&#10;&#10;Description automatically generated">
            <a:extLst>
              <a:ext uri="{FF2B5EF4-FFF2-40B4-BE49-F238E27FC236}">
                <a16:creationId xmlns:a16="http://schemas.microsoft.com/office/drawing/2014/main" id="{1D46319A-51C9-1A4C-976D-5DBFF1BD42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2145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8A6D4D4-8209-3345-A637-D0217991F8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7F7611B0-AEF8-294E-B9B5-36365DE4D6DE}"/>
              </a:ext>
            </a:extLst>
          </p:cNvPr>
          <p:cNvSpPr/>
          <p:nvPr userDrawn="1"/>
        </p:nvSpPr>
        <p:spPr>
          <a:xfrm>
            <a:off x="863601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3D6D5C0-A05A-594C-919D-81D4F19F368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03704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9B550DAC-D03A-BB46-9632-3895180836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7785605-5E70-484D-852E-E62D263C437A}"/>
              </a:ext>
            </a:extLst>
          </p:cNvPr>
          <p:cNvSpPr/>
          <p:nvPr userDrawn="1"/>
        </p:nvSpPr>
        <p:spPr>
          <a:xfrm>
            <a:off x="863602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E2CAB3FA-A240-1544-9F00-90FED28AEDD4}"/>
              </a:ext>
            </a:extLst>
          </p:cNvPr>
          <p:cNvSpPr/>
          <p:nvPr userDrawn="1"/>
        </p:nvSpPr>
        <p:spPr>
          <a:xfrm>
            <a:off x="8832746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85DE3F2F-40CA-514E-A735-725DC8A9858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72849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AE33E935-9726-AE4A-90AB-D0454CEE6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832747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3D0C71D-BF52-AD40-8CEC-51F5CEFBC8B7}"/>
              </a:ext>
            </a:extLst>
          </p:cNvPr>
          <p:cNvSpPr/>
          <p:nvPr userDrawn="1"/>
        </p:nvSpPr>
        <p:spPr>
          <a:xfrm>
            <a:off x="8832747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9BD885CE-38EA-414B-871F-D34C618F7798}"/>
              </a:ext>
            </a:extLst>
          </p:cNvPr>
          <p:cNvSpPr/>
          <p:nvPr userDrawn="1"/>
        </p:nvSpPr>
        <p:spPr>
          <a:xfrm>
            <a:off x="6177199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5AA70F9F-715E-604A-9F09-1E2D9F0E772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17302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47E00C1-754D-024B-BCE6-1DB1A85C3B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77201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DEAA2F-6124-5345-9CF4-2E835CCDE9C8}"/>
              </a:ext>
            </a:extLst>
          </p:cNvPr>
          <p:cNvSpPr/>
          <p:nvPr userDrawn="1"/>
        </p:nvSpPr>
        <p:spPr>
          <a:xfrm>
            <a:off x="6177200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FCDCC53D-2C00-D34B-B93B-F91346938C44}"/>
              </a:ext>
            </a:extLst>
          </p:cNvPr>
          <p:cNvSpPr/>
          <p:nvPr userDrawn="1"/>
        </p:nvSpPr>
        <p:spPr>
          <a:xfrm>
            <a:off x="3518793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7F8FE733-3114-0E47-BE26-3D8F5F08FE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58896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22B555CE-4667-2F4F-84E2-67951FC1DCE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18794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FB30E6E-8CDE-F144-90FA-7D85002BD66E}"/>
              </a:ext>
            </a:extLst>
          </p:cNvPr>
          <p:cNvSpPr/>
          <p:nvPr userDrawn="1"/>
        </p:nvSpPr>
        <p:spPr>
          <a:xfrm>
            <a:off x="3518794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7854BBA-939F-F844-BEC1-E1C866928E11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EA6D89C-E52A-4141-813F-0D60B78B3973}"/>
              </a:ext>
            </a:extLst>
          </p:cNvPr>
          <p:cNvCxnSpPr>
            <a:cxnSpLocks/>
          </p:cNvCxnSpPr>
          <p:nvPr userDrawn="1"/>
        </p:nvCxnSpPr>
        <p:spPr>
          <a:xfrm>
            <a:off x="3512839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5AF21D6-BB36-CB49-AD04-2ECEAEC1CF60}"/>
              </a:ext>
            </a:extLst>
          </p:cNvPr>
          <p:cNvCxnSpPr>
            <a:cxnSpLocks/>
          </p:cNvCxnSpPr>
          <p:nvPr userDrawn="1"/>
        </p:nvCxnSpPr>
        <p:spPr>
          <a:xfrm>
            <a:off x="61804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242FCC4-A226-E142-B41A-468507FFB947}"/>
              </a:ext>
            </a:extLst>
          </p:cNvPr>
          <p:cNvCxnSpPr>
            <a:cxnSpLocks/>
          </p:cNvCxnSpPr>
          <p:nvPr userDrawn="1"/>
        </p:nvCxnSpPr>
        <p:spPr>
          <a:xfrm>
            <a:off x="88419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48762971-3C37-D649-8FF2-3A25E28ECA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5" name="Picture 34" descr="A picture containing food&#10;&#10;Description automatically generated">
            <a:extLst>
              <a:ext uri="{FF2B5EF4-FFF2-40B4-BE49-F238E27FC236}">
                <a16:creationId xmlns:a16="http://schemas.microsoft.com/office/drawing/2014/main" id="{12D49F86-BDDB-DD43-9209-80C4DF2FBE9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885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4EF4E8F0-E43E-A74C-91E1-6E1FD8D1E7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2499861F-00E2-1148-B38A-E12B8B2BF820}"/>
              </a:ext>
            </a:extLst>
          </p:cNvPr>
          <p:cNvSpPr/>
          <p:nvPr userDrawn="1"/>
        </p:nvSpPr>
        <p:spPr>
          <a:xfrm>
            <a:off x="863600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10349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42DEF93-380D-3B47-9E80-5662FED8C0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3602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A20C2B7-C762-0745-A0C1-322189BEDABC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A8C81C5-38CC-1747-88CF-619160A4AA6D}"/>
              </a:ext>
            </a:extLst>
          </p:cNvPr>
          <p:cNvCxnSpPr>
            <a:cxnSpLocks/>
          </p:cNvCxnSpPr>
          <p:nvPr userDrawn="1"/>
        </p:nvCxnSpPr>
        <p:spPr>
          <a:xfrm>
            <a:off x="863601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AF47650E-BC51-E04D-931C-6D33E554D71D}"/>
              </a:ext>
            </a:extLst>
          </p:cNvPr>
          <p:cNvSpPr/>
          <p:nvPr userDrawn="1"/>
        </p:nvSpPr>
        <p:spPr>
          <a:xfrm>
            <a:off x="6275789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E282F56-A7E9-B44A-98D8-8D640527D4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22538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4F90CFB-8BA0-C64A-AC81-45A7C7333E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5791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D05F69A-30E4-8D4C-9B3D-829782E15F84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747264E-E94F-9044-B27E-E74ED140023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6E4D2569-7DD1-1241-B244-4BA0A18AC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94087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411BDA96-5809-5341-BAD3-9F7BB3E2FB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2395642-DBA4-1140-9D7A-1389F8A55E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1F5EA692-C4E3-514C-98CC-90CE83146E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7338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68FC3FB0-CF43-D541-A532-3CFC6D2DAA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18687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5E05213-E9A3-5A4D-A76C-3CC50B0AB2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417850-FA45-B549-AD14-868BE1ED9F18}"/>
              </a:ext>
            </a:extLst>
          </p:cNvPr>
          <p:cNvSpPr/>
          <p:nvPr userDrawn="1"/>
        </p:nvSpPr>
        <p:spPr>
          <a:xfrm>
            <a:off x="86360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D4DA29B-4AE0-4D46-9E0C-DE58C9059C0C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6BE9C0CC-593B-CC48-A2EF-0A2E3483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52803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6F7B96B-AC5A-3348-9FAC-C9EC6B90D9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534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2AA3D2D-FAB7-D648-A95A-8E8FB2EEA1AF}"/>
              </a:ext>
            </a:extLst>
          </p:cNvPr>
          <p:cNvSpPr/>
          <p:nvPr userDrawn="1"/>
        </p:nvSpPr>
        <p:spPr>
          <a:xfrm>
            <a:off x="4429533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05B53C4-6BCC-9F41-8DC6-C1C441D5CEFF}"/>
              </a:ext>
            </a:extLst>
          </p:cNvPr>
          <p:cNvCxnSpPr>
            <a:cxnSpLocks/>
          </p:cNvCxnSpPr>
          <p:nvPr userDrawn="1"/>
        </p:nvCxnSpPr>
        <p:spPr>
          <a:xfrm>
            <a:off x="4429532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C6527C99-B704-3948-A8EB-E762CC3DC87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0040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759688E-CD1B-B540-B666-B135DBCD6D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77131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B20A2-9C1B-9B4E-90FE-1034AF294ECD}"/>
              </a:ext>
            </a:extLst>
          </p:cNvPr>
          <p:cNvSpPr/>
          <p:nvPr userDrawn="1"/>
        </p:nvSpPr>
        <p:spPr>
          <a:xfrm>
            <a:off x="797713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5FE0ADB-0F95-C24C-98B6-0975C8F64CD4}"/>
              </a:ext>
            </a:extLst>
          </p:cNvPr>
          <p:cNvCxnSpPr>
            <a:cxnSpLocks/>
          </p:cNvCxnSpPr>
          <p:nvPr userDrawn="1"/>
        </p:nvCxnSpPr>
        <p:spPr>
          <a:xfrm>
            <a:off x="7977129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9F3F5BE7-6635-F941-8B5E-750365C7E3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8686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318FA5D8-1B42-C544-B87A-65D4F2C26B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83283C0E-634B-F243-BF1E-CA70CA36885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9929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9670A263-B582-FE40-BD7E-C4DCD3E0B7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F9563CBF-5735-6447-A93D-0D4AFA601026}"/>
              </a:ext>
            </a:extLst>
          </p:cNvPr>
          <p:cNvSpPr/>
          <p:nvPr userDrawn="1"/>
        </p:nvSpPr>
        <p:spPr>
          <a:xfrm>
            <a:off x="863600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249D3357-0AE1-4F41-BAB8-A10DCDD2B4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10349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046F5D6-5875-AD43-8F9B-656508FD14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3602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8C20629-DF0F-2A4C-93E4-004CED5DE1B0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8019043-5300-8C49-8542-A1B1C5350662}"/>
              </a:ext>
            </a:extLst>
          </p:cNvPr>
          <p:cNvCxnSpPr>
            <a:cxnSpLocks/>
          </p:cNvCxnSpPr>
          <p:nvPr userDrawn="1"/>
        </p:nvCxnSpPr>
        <p:spPr>
          <a:xfrm>
            <a:off x="863601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4EB59C99-B5FF-F046-94EF-7C45AB324076}"/>
              </a:ext>
            </a:extLst>
          </p:cNvPr>
          <p:cNvSpPr/>
          <p:nvPr userDrawn="1"/>
        </p:nvSpPr>
        <p:spPr>
          <a:xfrm>
            <a:off x="6275789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26494BA1-9106-434A-B9C6-4051B09B39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139197" marR="0" lvl="0" indent="-139197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28240EA-EBCE-F842-ACD1-3E8EBFC37C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67AAC37-D8DE-444C-A917-ECCD6FF197DB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16DD487-CF6E-F046-B48E-0AADA528410A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68448A1C-51A0-B949-82E7-7CC2B1BC1999}"/>
              </a:ext>
            </a:extLst>
          </p:cNvPr>
          <p:cNvSpPr/>
          <p:nvPr userDrawn="1"/>
        </p:nvSpPr>
        <p:spPr>
          <a:xfrm>
            <a:off x="863600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EB7BFD81-9BE9-BF4A-B728-5CC78FB36F9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210349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6FD692E-0D7D-4846-B050-98C3F5840F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3602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EF0A7-763B-B940-AE76-BDA098AAE936}"/>
              </a:ext>
            </a:extLst>
          </p:cNvPr>
          <p:cNvSpPr/>
          <p:nvPr userDrawn="1"/>
        </p:nvSpPr>
        <p:spPr>
          <a:xfrm>
            <a:off x="863601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A771312-DCC6-B94F-B004-8E9DE59F70C9}"/>
              </a:ext>
            </a:extLst>
          </p:cNvPr>
          <p:cNvCxnSpPr>
            <a:cxnSpLocks/>
          </p:cNvCxnSpPr>
          <p:nvPr userDrawn="1"/>
        </p:nvCxnSpPr>
        <p:spPr>
          <a:xfrm>
            <a:off x="863601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6217734D-41E6-EC49-81D6-7F6E340EF91F}"/>
              </a:ext>
            </a:extLst>
          </p:cNvPr>
          <p:cNvSpPr/>
          <p:nvPr userDrawn="1"/>
        </p:nvSpPr>
        <p:spPr>
          <a:xfrm>
            <a:off x="6275789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61F89409-BFC5-464A-B894-FE92CD3B1CF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156DF22-B940-3D43-A980-6CF14EFE20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BAA0C18-140E-8C41-8199-68406BFCB914}"/>
              </a:ext>
            </a:extLst>
          </p:cNvPr>
          <p:cNvSpPr/>
          <p:nvPr userDrawn="1"/>
        </p:nvSpPr>
        <p:spPr>
          <a:xfrm>
            <a:off x="6275790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7396826-4C94-F049-9A3C-722635B6070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4859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FD1C421C-78F1-4448-A619-55E0DC24C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A563FB27-CF07-3B44-840A-2AE6E576920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1" name="Picture 30" descr="A picture containing food&#10;&#10;Description automatically generated">
            <a:extLst>
              <a:ext uri="{FF2B5EF4-FFF2-40B4-BE49-F238E27FC236}">
                <a16:creationId xmlns:a16="http://schemas.microsoft.com/office/drawing/2014/main" id="{58538397-5740-5641-9179-53714A648B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246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FAF84E0-0949-F840-A9B4-1521ADCBC1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56309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A87D5D9-86A7-8849-914E-249E506784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2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A680962B-FBC1-9647-B4A1-88289458B7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3602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id="{FCDFBAC7-F0E7-DA46-91A5-892B642C946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62915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</a:t>
            </a:r>
            <a:r>
              <a:rPr lang="en-US" err="1"/>
              <a:t>leve</a:t>
            </a:r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7B136980-B961-E344-B037-CE91E072CEA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62915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1CC64DD4-9725-AC4B-AF81-20A94999D2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63602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id="{A935D7D4-BBC8-E446-8C28-6EB0C64BFDE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63602" y="3954283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39802B60-38D9-854E-B65D-91DC64263CA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62915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555417B1-BB88-4E49-8E03-E3C2C28521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2915" y="3854151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7" name="Title 1">
            <a:extLst>
              <a:ext uri="{FF2B5EF4-FFF2-40B4-BE49-F238E27FC236}">
                <a16:creationId xmlns:a16="http://schemas.microsoft.com/office/drawing/2014/main" id="{0E4BF7D6-5186-EA48-A17C-60D398151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D13F3180-DADD-1F4D-855F-78F1B16F2D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9" name="Picture 18" descr="A picture containing food&#10;&#10;Description automatically generated">
            <a:extLst>
              <a:ext uri="{FF2B5EF4-FFF2-40B4-BE49-F238E27FC236}">
                <a16:creationId xmlns:a16="http://schemas.microsoft.com/office/drawing/2014/main" id="{96E5E451-2BD1-3A49-8DED-E9FA81C45A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6787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25FB098-55A4-BA46-A9E1-D2D8D0008D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2800"/>
            <a:ext cx="5052604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8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E7DF1266-DFF3-1F47-9AF9-C4DB6C6FEA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2343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225447"/>
      </p:ext>
    </p:extLst>
  </p:cSld>
  <p:clrMapOvr>
    <a:masterClrMapping/>
  </p:clrMapOvr>
  <p:transition>
    <p:wipe dir="d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044C795-8967-2545-9806-79E6156E73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321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3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79426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00E74B1D-D901-E84E-9EC7-49DF125A07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993FBC66-A669-A64C-8C35-852C386C60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5896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696200C-4F23-AB48-98AA-F1C3718B47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968299" y="152403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8299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801980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24D5D6F4-BFDF-DB45-BE4F-24A1172D259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4741AF9A-9588-8B45-A10C-A133D87E9D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6010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2EE154-1D04-A944-85D3-3DCC3AF4DB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A53D7EC-8354-E14A-A7FA-81AD863786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72082" y="2456463"/>
            <a:ext cx="5050671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BCFA1914-78AE-134E-8209-EA026A7331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832845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BD0110D-75B4-F04E-931A-5176A6DAA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7728" y="1523420"/>
            <a:ext cx="5050672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D3849F72-96AA-DC45-B908-A4B8D4257A5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65C2E079-38A2-634C-ADF9-5C40352E90D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 descr="A picture containing food&#10;&#10;Description automatically generated">
            <a:extLst>
              <a:ext uri="{FF2B5EF4-FFF2-40B4-BE49-F238E27FC236}">
                <a16:creationId xmlns:a16="http://schemas.microsoft.com/office/drawing/2014/main" id="{56622307-1967-9547-BEF7-EFEE04D4B6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7537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E982B460-7034-244F-8EB8-CD53BC66BE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0" y="2640647"/>
            <a:ext cx="5052605" cy="1576708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Aft>
                <a:spcPts val="800"/>
              </a:spcAft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 Click </a:t>
            </a:r>
            <a:br>
              <a:rPr lang="en-US"/>
            </a:br>
            <a:r>
              <a:rPr lang="en-US"/>
              <a:t>to edit Master title style Click to edit Master title styl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E45EC2D0-2066-7C46-B4A9-56BE033DFDC7}"/>
              </a:ext>
            </a:extLst>
          </p:cNvPr>
          <p:cNvSpPr/>
          <p:nvPr userDrawn="1"/>
        </p:nvSpPr>
        <p:spPr>
          <a:xfrm>
            <a:off x="6275789" y="1348510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7D74F64-410F-C140-BEF2-50EB28C1F1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1504953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534475F-C46F-B44B-A7AB-22F233A73D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90918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1F2941-1391-9F41-9B05-2564737D1CA5}"/>
              </a:ext>
            </a:extLst>
          </p:cNvPr>
          <p:cNvSpPr/>
          <p:nvPr userDrawn="1"/>
        </p:nvSpPr>
        <p:spPr>
          <a:xfrm>
            <a:off x="6275790" y="86169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9897074-7CD0-7547-BD7C-BD20A83DACB8}"/>
              </a:ext>
            </a:extLst>
          </p:cNvPr>
          <p:cNvCxnSpPr>
            <a:cxnSpLocks/>
          </p:cNvCxnSpPr>
          <p:nvPr userDrawn="1"/>
        </p:nvCxnSpPr>
        <p:spPr>
          <a:xfrm>
            <a:off x="6275790" y="132608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543C7861-043E-244B-A15E-3DF348BA7133}"/>
              </a:ext>
            </a:extLst>
          </p:cNvPr>
          <p:cNvSpPr/>
          <p:nvPr userDrawn="1"/>
        </p:nvSpPr>
        <p:spPr>
          <a:xfrm>
            <a:off x="6275789" y="3062723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F6C341A-8889-374B-BFD0-8BFB09C03A6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622538" y="3219167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EB5CC2A-8814-AD4C-94A8-AAB9E739A5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75791" y="2623397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A1A5C2-4744-F145-A9EE-D5FFC29D9377}"/>
              </a:ext>
            </a:extLst>
          </p:cNvPr>
          <p:cNvSpPr/>
          <p:nvPr userDrawn="1"/>
        </p:nvSpPr>
        <p:spPr>
          <a:xfrm>
            <a:off x="6275790" y="2575905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549CC34-F23B-FB44-8393-64C036694B05}"/>
              </a:ext>
            </a:extLst>
          </p:cNvPr>
          <p:cNvCxnSpPr>
            <a:cxnSpLocks/>
          </p:cNvCxnSpPr>
          <p:nvPr userDrawn="1"/>
        </p:nvCxnSpPr>
        <p:spPr>
          <a:xfrm>
            <a:off x="6275790" y="3040300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7D46D13-1898-BE48-8476-8DDF1462B5E0}"/>
              </a:ext>
            </a:extLst>
          </p:cNvPr>
          <p:cNvSpPr/>
          <p:nvPr userDrawn="1"/>
        </p:nvSpPr>
        <p:spPr>
          <a:xfrm>
            <a:off x="6275789" y="4776937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1D5DF601-A9E2-AF4C-9435-B4DAF08F9F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933380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04AE032-B3A3-C442-B8DC-8F7A485F12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4337610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F4874F8-D35C-B34B-AB7A-97BE3CD53502}"/>
              </a:ext>
            </a:extLst>
          </p:cNvPr>
          <p:cNvSpPr/>
          <p:nvPr userDrawn="1"/>
        </p:nvSpPr>
        <p:spPr>
          <a:xfrm>
            <a:off x="6275790" y="4290118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E1A1E44-7E0A-484E-AFB5-1E7B861E02F7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754513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5F351E5A-10FB-0542-BE75-9A4B4820B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FAEE7216-519C-264E-BC91-04B7F295070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5" name="Picture 24" descr="A picture containing food&#10;&#10;Description automatically generated">
            <a:extLst>
              <a:ext uri="{FF2B5EF4-FFF2-40B4-BE49-F238E27FC236}">
                <a16:creationId xmlns:a16="http://schemas.microsoft.com/office/drawing/2014/main" id="{8D35097E-1DE5-7C4C-A9B3-3A1800DAFB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6202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274638"/>
            <a:ext cx="11127409" cy="927999"/>
          </a:xfrm>
          <a:prstGeom prst="rect">
            <a:avLst/>
          </a:prstGeom>
        </p:spPr>
        <p:txBody>
          <a:bodyPr lIns="0" anchor="b" anchorCtr="0"/>
          <a:lstStyle>
            <a:lvl1pPr>
              <a:lnSpc>
                <a:spcPts val="24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1" y="1600201"/>
            <a:ext cx="11093451" cy="4004691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 marL="349242" indent="-180970">
              <a:buClr>
                <a:schemeClr val="accent1"/>
              </a:buClr>
              <a:defRPr/>
            </a:lvl2pPr>
            <a:lvl3pPr marL="517512" indent="-168270">
              <a:buClr>
                <a:schemeClr val="accent1"/>
              </a:buClr>
              <a:defRPr/>
            </a:lvl3pPr>
            <a:lvl4pPr marL="685783" indent="-168270">
              <a:buClr>
                <a:schemeClr val="accent1"/>
              </a:buClr>
              <a:defRPr/>
            </a:lvl4pPr>
            <a:lvl5pPr marL="806431" indent="-120648"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CACADA9-C812-48D8-B8B9-E9A775436C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LEAD CONFIDENTIAL AND PROPRIETAR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76AF96B-F142-47AB-A4A1-AD6EE21B55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02BD659-9FDC-409B-A85B-D43EDDA2118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9187205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30/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747152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808513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21" Type="http://schemas.openxmlformats.org/officeDocument/2006/relationships/oleObject" Target="../embeddings/oleObject3.bin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23.xml"/><Relationship Id="rId19" Type="http://schemas.openxmlformats.org/officeDocument/2006/relationships/vmlDrawing" Target="../drawings/vmlDrawing3.v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21" Type="http://schemas.openxmlformats.org/officeDocument/2006/relationships/image" Target="../media/image9.png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vmlDrawing" Target="../drawings/vmlDrawing5.vml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oleObject" Target="../embeddings/oleObject5.bin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image" Target="../media/image10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vmlDrawing" Target="../drawings/vmlDrawing8.vml"/><Relationship Id="rId3" Type="http://schemas.openxmlformats.org/officeDocument/2006/relationships/slideLayout" Target="../slideLayouts/slideLayout48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oleObject" Target="../embeddings/oleObject7.bin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55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theme" Target="../theme/theme5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7" imgW="519" imgH="520" progId="TCLayout.ActiveDocument.1">
                  <p:embed/>
                </p:oleObj>
              </mc:Choice>
              <mc:Fallback>
                <p:oleObj name="think-cell Slide" r:id="rId17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2339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04197595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Slide" r:id="rId21" imgW="519" imgH="520" progId="TCLayout.ActiveDocument.1">
                  <p:embed/>
                </p:oleObj>
              </mc:Choice>
              <mc:Fallback>
                <p:oleObj name="think-cell Slide" r:id="rId21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068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752" r:id="rId17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611596740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7" name="think-cell Slide" r:id="rId19" imgW="519" imgH="520" progId="TCLayout.ActiveDocument.1">
                  <p:embed/>
                </p:oleObj>
              </mc:Choice>
              <mc:Fallback>
                <p:oleObj name="think-cell Slide" r:id="rId19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585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904025598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1" name="think-cell Slide" r:id="rId20" imgW="519" imgH="520" progId="TCLayout.ActiveDocument.1">
                  <p:embed/>
                </p:oleObj>
              </mc:Choice>
              <mc:Fallback>
                <p:oleObj name="think-cell Slide" r:id="rId20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786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3" r:id="rId16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BD022E9-1AF0-D441-89FB-E4108D4E6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4867" y="6213310"/>
            <a:ext cx="7141347" cy="32560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CA" sz="800" b="0" i="0" u="none" strike="noStrike" cap="all" baseline="0" smtClean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/>
              <a:t>Disclaimer goes her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D8F4315-808C-1D48-B36E-6E6CA2B02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30272" y="6376112"/>
            <a:ext cx="601133" cy="17144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33"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745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43" r:id="rId19"/>
    <p:sldLayoutId id="2147483744" r:id="rId20"/>
    <p:sldLayoutId id="2147483745" r:id="rId21"/>
    <p:sldLayoutId id="2147483746" r:id="rId22"/>
    <p:sldLayoutId id="2147483747" r:id="rId23"/>
    <p:sldLayoutId id="2147483748" r:id="rId2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9">
          <p15:clr>
            <a:srgbClr val="F26B43"/>
          </p15:clr>
        </p15:guide>
        <p15:guide id="2" pos="408">
          <p15:clr>
            <a:srgbClr val="F26B43"/>
          </p15:clr>
        </p15:guide>
        <p15:guide id="3" pos="5352">
          <p15:clr>
            <a:srgbClr val="F26B43"/>
          </p15:clr>
        </p15:guide>
        <p15:guide id="4" orient="horz" pos="275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0.xml"/><Relationship Id="rId6" Type="http://schemas.microsoft.com/office/2007/relationships/hdphoto" Target="../media/hdphoto1.wdp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0.xml"/><Relationship Id="rId6" Type="http://schemas.microsoft.com/office/2007/relationships/hdphoto" Target="../media/hdphoto1.wdp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ext, green, outdoor, light&#10;&#10;Description automatically generated">
            <a:extLst>
              <a:ext uri="{FF2B5EF4-FFF2-40B4-BE49-F238E27FC236}">
                <a16:creationId xmlns:a16="http://schemas.microsoft.com/office/drawing/2014/main" id="{D1A3CC65-4654-451C-BEF2-70539A2BDB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FEAADAA-BCB4-401E-A014-EF9D57366AB7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8D18FC5-F1FD-478C-9C83-7C3AE4D32C15}"/>
              </a:ext>
            </a:extLst>
          </p:cNvPr>
          <p:cNvSpPr txBox="1"/>
          <p:nvPr/>
        </p:nvSpPr>
        <p:spPr>
          <a:xfrm>
            <a:off x="401722" y="30022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Ladder 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orkshop 2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F583E48-6738-4618-BA34-5964C2B9C680}"/>
              </a:ext>
            </a:extLst>
          </p:cNvPr>
          <p:cNvCxnSpPr>
            <a:cxnSpLocks/>
          </p:cNvCxnSpPr>
          <p:nvPr/>
        </p:nvCxnSpPr>
        <p:spPr bwMode="auto">
          <a:xfrm>
            <a:off x="475488" y="39742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451BEB25-6F31-413D-B1A8-0E709AC9812A}"/>
              </a:ext>
            </a:extLst>
          </p:cNvPr>
          <p:cNvSpPr txBox="1"/>
          <p:nvPr/>
        </p:nvSpPr>
        <p:spPr>
          <a:xfrm>
            <a:off x="448056" y="4102227"/>
            <a:ext cx="2788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onday 29th Marc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>
                <a:solidFill>
                  <a:prstClr val="white"/>
                </a:solidFill>
                <a:latin typeface="Tahoma"/>
              </a:rPr>
              <a:t>Core RA team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8516906-7DF1-4E5D-BD10-2A9E1FB82E96}"/>
              </a:ext>
            </a:extLst>
          </p:cNvPr>
          <p:cNvCxnSpPr>
            <a:cxnSpLocks/>
          </p:cNvCxnSpPr>
          <p:nvPr/>
        </p:nvCxnSpPr>
        <p:spPr bwMode="auto">
          <a:xfrm>
            <a:off x="475488" y="4884547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">
            <a:extLst>
              <a:ext uri="{FF2B5EF4-FFF2-40B4-BE49-F238E27FC236}">
                <a16:creationId xmlns:a16="http://schemas.microsoft.com/office/drawing/2014/main" id="{67C051B5-C823-4647-BC36-0BE8E94D02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46030" y="257557"/>
            <a:ext cx="12099939" cy="2246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552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23932" y="1244453"/>
            <a:ext cx="1927151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>
                <a:solidFill>
                  <a:srgbClr val="FFFFFF"/>
                </a:solidFill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lang="en-GB" sz="1000" b="1">
              <a:solidFill>
                <a:srgbClr val="FFFFFF"/>
              </a:solidFill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indent="-387341"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kern="0">
                <a:solidFill>
                  <a:srgbClr val="FFFFFF"/>
                </a:solidFill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1</a:t>
            </a:r>
            <a:r>
              <a:rPr lang="en-GB" sz="1100" b="1" baseline="30000">
                <a:solidFill>
                  <a:schemeClr val="tx2"/>
                </a:solidFill>
              </a:rPr>
              <a:t>st</a:t>
            </a:r>
            <a:r>
              <a:rPr lang="en-GB" sz="1100" b="1">
                <a:solidFill>
                  <a:schemeClr val="tx2"/>
                </a:solidFill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34083" y="4641679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Barrier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03016" y="1995187"/>
            <a:ext cx="1948068" cy="2095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demonstrate that despite new treatments, unmet needs still remain, especially related to a balance of efficacy and safety</a:t>
            </a:r>
            <a:endParaRPr lang="en-GB" sz="750" b="1" i="1"/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lang="en-GB" sz="750">
                <a:solidFill>
                  <a:srgbClr val="000000"/>
                </a:solidFill>
              </a:rPr>
              <a:t>Uses a wide variety of treatments 1st line, including JAK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75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lang="en-GB" sz="750">
                <a:solidFill>
                  <a:srgbClr val="000000"/>
                </a:solidFill>
              </a:rPr>
              <a:t>Occasionally uses JAKs but not consistently [high variation within segment – some are very high JAK users]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75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lang="en-GB" sz="750">
                <a:solidFill>
                  <a:srgbClr val="000000"/>
                </a:solidFill>
              </a:rPr>
              <a:t>Uses a variety of products based on patient need &amp; guideline recommendation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03015" y="4202668"/>
            <a:ext cx="1932114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tisfied with current option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Complacency/habi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on’t believe there are significant unmet needs that can be addressed by (another) JAK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Believe another MOA will be needed to address unmet need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Communication gap between patients and HCPs that masks unmet needs/treatment gaps (especially Compassionates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Vid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</a:t>
            </a:r>
            <a:r>
              <a:rPr kumimoji="0" lang="en-GB" sz="7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nt</a:t>
            </a:r>
            <a:r>
              <a:rPr lang="en-GB" sz="750" err="1">
                <a:solidFill>
                  <a:srgbClr val="000000"/>
                </a:solidFill>
                <a:latin typeface="Tahoma" pitchFamily="-107" charset="0"/>
              </a:rPr>
              <a:t>ext</a:t>
            </a: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 : access challenge to car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Highly competitive environment with comparisons between treatments hard to make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reatment inertia and need to overcome mindset shift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7"/>
            <a:ext cx="1885612" cy="2095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ensure early positive experiences </a:t>
            </a: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as proof of concept (and to share with peers)</a:t>
            </a: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  <a:endParaRPr lang="en-GB" sz="750" b="1">
              <a:solidFill>
                <a:srgbClr val="A15699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A15699"/>
                </a:solidFill>
              </a:rPr>
              <a:t>Mavericks</a:t>
            </a:r>
            <a:r>
              <a:rPr lang="en-GB" sz="750">
                <a:solidFill>
                  <a:srgbClr val="000000"/>
                </a:solidFill>
              </a:rPr>
              <a:t>: Reflects on early JYSELECA experience &amp; positive efficacy outcomes compared with other JAK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8986"/>
                </a:solidFill>
              </a:rPr>
              <a:t>Pragmatists</a:t>
            </a:r>
            <a:r>
              <a:rPr lang="en-GB" sz="750">
                <a:solidFill>
                  <a:srgbClr val="000000"/>
                </a:solidFill>
              </a:rPr>
              <a:t>: Attends a peer-to peer discussion with local colleagues about their experiences with JYSELECA &amp; its safety profile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8CA509"/>
                </a:solidFill>
              </a:rPr>
              <a:t>Compassionates</a:t>
            </a:r>
            <a:r>
              <a:rPr lang="en-GB" sz="750">
                <a:solidFill>
                  <a:srgbClr val="000000"/>
                </a:solidFill>
              </a:rPr>
              <a:t>: Attends a discussion with local expert about their experiences with JYSELECA &amp; its safety profile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9607" y="4202667"/>
            <a:ext cx="1879442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Awareness &amp; Acces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Access to JYSELECA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access to sampling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experience with JYSELECA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familiarity with Galapagos and new relationship with rep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Differentiation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Perceived lack of differentiation from RINVOQ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Sees no difference in clinic relative to RINVOQ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Negative Safety Halo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Residual JAK concerns from 1</a:t>
            </a:r>
            <a:r>
              <a:rPr lang="en-GB" sz="750" baseline="30000">
                <a:solidFill>
                  <a:srgbClr val="000000"/>
                </a:solidFill>
                <a:latin typeface="Tahoma" pitchFamily="-107" charset="0"/>
              </a:rPr>
              <a:t>st</a:t>
            </a: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 generation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Clinical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Has a negative experience in a patient in first few patient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clarity of who the ideal JYSELECA patient i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1"/>
            <a:ext cx="1879442" cy="20796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To differentiate JYSELECA versus other JAKs, especially RINVOQ</a:t>
            </a: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  <a:endParaRPr lang="en-GB" sz="750" b="1">
              <a:solidFill>
                <a:srgbClr val="A15699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A15699"/>
                </a:solidFill>
              </a:rPr>
              <a:t>Mavericks</a:t>
            </a:r>
            <a:r>
              <a:rPr lang="en-GB" sz="750">
                <a:solidFill>
                  <a:srgbClr val="000000"/>
                </a:solidFill>
              </a:rPr>
              <a:t>: Prescribes JYSELECA as their ‘go to’ JAK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8986"/>
                </a:solidFill>
              </a:rPr>
              <a:t>Pragmatists</a:t>
            </a:r>
            <a:r>
              <a:rPr lang="en-GB" sz="750">
                <a:solidFill>
                  <a:srgbClr val="000000"/>
                </a:solidFill>
              </a:rPr>
              <a:t>: Prescribes JYSELECA for some patients where safety is the main concern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8CA509"/>
                </a:solidFill>
              </a:rPr>
              <a:t>Compassionates</a:t>
            </a:r>
            <a:r>
              <a:rPr lang="en-GB" sz="750">
                <a:solidFill>
                  <a:srgbClr val="000000"/>
                </a:solidFill>
              </a:rPr>
              <a:t>: Prescribes JYSELECA for some patients where safety &amp; simplicity are important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4218343"/>
            <a:ext cx="1879442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Satisfaction with their current JAK and no reason to chang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Prefer to have a wide armamentarium, rather than a go-to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ike to keep options open as new entries emerg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Competitive messaging and share of voic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Uncertainty around available JYSELELCA support services for HCPs and patients 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Unsure of which patient population to expand usage i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20796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To create an environment that facilitates exchange of positive experienc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  <a:endParaRPr lang="en-GB" sz="750" b="1">
              <a:solidFill>
                <a:srgbClr val="A15699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A15699"/>
                </a:solidFill>
              </a:rPr>
              <a:t>Mavericks</a:t>
            </a:r>
            <a:r>
              <a:rPr lang="en-GB" sz="750">
                <a:solidFill>
                  <a:srgbClr val="000000"/>
                </a:solidFill>
              </a:rPr>
              <a:t>: Shares positive experiences with colleague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8986"/>
                </a:solidFill>
              </a:rPr>
              <a:t>Pragmatists</a:t>
            </a:r>
            <a:r>
              <a:rPr lang="en-GB" sz="750">
                <a:solidFill>
                  <a:srgbClr val="000000"/>
                </a:solidFill>
              </a:rPr>
              <a:t>: Gains depth of experience in patients where safety is a concern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8CA509"/>
                </a:solidFill>
              </a:rPr>
              <a:t>Compassionates</a:t>
            </a:r>
            <a:r>
              <a:rPr lang="en-GB" sz="750">
                <a:solidFill>
                  <a:srgbClr val="000000"/>
                </a:solidFill>
              </a:rPr>
              <a:t>: Monitors feedback &amp; safety signals in JYSELECA patient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4218343"/>
            <a:ext cx="1891780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  <a:latin typeface="Tahoma" pitchFamily="-107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Negative experiences that temper their enthusiasm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Wanting to appear unbiased/unaligned with a bran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6"/>
            <a:ext cx="1850151" cy="209553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>
                <a:solidFill>
                  <a:srgbClr val="000000"/>
                </a:solidFill>
                <a:latin typeface="Tahoma" pitchFamily="-107" charset="0"/>
              </a:rPr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To identify, support, and create a platform for JYSELECA advocat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  <a:endParaRPr lang="en-GB" sz="750" b="1">
              <a:solidFill>
                <a:srgbClr val="A15699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A15699"/>
                </a:solidFill>
              </a:rPr>
              <a:t>Mavericks</a:t>
            </a:r>
            <a:r>
              <a:rPr lang="en-GB" sz="750">
                <a:solidFill>
                  <a:srgbClr val="000000"/>
                </a:solidFill>
              </a:rPr>
              <a:t>: Advocates JYSELECA as JAK of choic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8986"/>
                </a:solidFill>
              </a:rPr>
              <a:t>Pragmatists</a:t>
            </a:r>
            <a:r>
              <a:rPr lang="en-GB" sz="750">
                <a:solidFill>
                  <a:srgbClr val="000000"/>
                </a:solidFill>
              </a:rPr>
              <a:t>: Expands the use of JYSELECA to different types of patients so ultimately JYSELECA becomes JAK of choice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8CA509"/>
                </a:solidFill>
              </a:rPr>
              <a:t>Compassionates</a:t>
            </a:r>
            <a:r>
              <a:rPr lang="en-GB" sz="750">
                <a:solidFill>
                  <a:srgbClr val="000000"/>
                </a:solidFill>
              </a:rPr>
              <a:t>: Starts to use JYSELECA as first line JAK inhibitor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4202668"/>
            <a:ext cx="1850151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Do not have a JAK of choice and philosophically opposed to aligning with one product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Don’t have a platform from which to advocat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42370E2-98BB-4931-BF1C-AD27EED6B538}"/>
              </a:ext>
            </a:extLst>
          </p:cNvPr>
          <p:cNvSpPr/>
          <p:nvPr/>
        </p:nvSpPr>
        <p:spPr bwMode="auto">
          <a:xfrm>
            <a:off x="7321745" y="6418504"/>
            <a:ext cx="4442544" cy="366253"/>
          </a:xfrm>
          <a:prstGeom prst="rect">
            <a:avLst/>
          </a:prstGeom>
          <a:solidFill>
            <a:srgbClr val="7B8C4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Summary of RA Workshop Discussion (1 of 2)</a:t>
            </a:r>
            <a:endParaRPr kumimoji="0" lang="en-GB" sz="1600" i="1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32936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23932" y="1244453"/>
            <a:ext cx="1927151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>
                <a:solidFill>
                  <a:srgbClr val="FFFFFF"/>
                </a:solidFill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lang="en-GB" sz="1000" b="1">
              <a:solidFill>
                <a:srgbClr val="FFFFFF"/>
              </a:solidFill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indent="-387341"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kern="0">
                <a:solidFill>
                  <a:srgbClr val="FFFFFF"/>
                </a:solidFill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1</a:t>
            </a:r>
            <a:r>
              <a:rPr lang="en-GB" sz="1100" b="1" baseline="30000">
                <a:solidFill>
                  <a:schemeClr val="tx2"/>
                </a:solidFill>
              </a:rPr>
              <a:t>st</a:t>
            </a:r>
            <a:r>
              <a:rPr lang="en-GB" sz="1100" b="1">
                <a:solidFill>
                  <a:schemeClr val="tx2"/>
                </a:solidFill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Messag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-79385" y="5296553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Message Sourc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03016" y="1995186"/>
            <a:ext cx="1948068" cy="31972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ignificant need for new treatment options – they already agree with this and are keen to try new options,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sp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if efficacy is not compromised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need for more safe treatment options that do not compromise on efficacy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focus on unmet needs from a patient perspective – less from an HCP perspectiv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 Topics: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Unmet needs messaging : 1/3 patients are refractory, EULAR guidelines, (5messages in total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FAQ on </a:t>
            </a: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CoVid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 impact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03015" y="5296554"/>
            <a:ext cx="1932114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etail Aid…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Implementation Guid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LearnJAKStat</a:t>
            </a:r>
            <a:endParaRPr lang="en-GB" sz="800">
              <a:solidFill>
                <a:srgbClr val="000000"/>
              </a:solidFill>
              <a:latin typeface="Tahoma" pitchFamily="-107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ublished literature (cost of lack of </a:t>
            </a: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ttt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FAQ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TeachJAKStat</a:t>
            </a:r>
            <a:endParaRPr lang="en-GB" sz="800">
              <a:solidFill>
                <a:srgbClr val="000000"/>
              </a:solidFill>
              <a:latin typeface="Tahoma" pitchFamily="-107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MyMentum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 drop material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6"/>
            <a:ext cx="1885612" cy="31972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xpose to full data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sp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efficacy, give opportunity to try – make it easy, but they will be interested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expose to full data incl safety, ref trusted peers/colleagues and hands on experience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KOL/Peer/trusted source perspectives on JYS safety and simplicity – ‘permission to try’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 i="1">
                <a:solidFill>
                  <a:srgbClr val="000000"/>
                </a:solidFill>
              </a:rPr>
              <a:t>Message Topic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Now availabl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MoA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 : selectivity (vs 1G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Comprehensive clinical evidence : 3 CT and long term data 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Strength of balance story : full strength with safety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Reimbursement : (to be localised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identific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and Patient Support Service (</a:t>
            </a: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Cpst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) / to be localised)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 b="1" i="1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9607" y="5296553"/>
            <a:ext cx="1879442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Detail Aid…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Finch video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Available publication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(refer to channel preference to maximize interactions by segments)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Portal (pending country site map)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1"/>
            <a:ext cx="1879442" cy="31729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reinforce experience, share additional data freely, seed need to share with others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advocate trial and follow up re experience and expansion of trial use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share/encourage patient feedback, patient perspectives, PIO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fficac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Safe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Profile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atient identification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Corporate support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and Patient Support Service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5312229"/>
            <a:ext cx="1879442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i="1">
                <a:solidFill>
                  <a:srgbClr val="000000"/>
                </a:solidFill>
                <a:latin typeface="Tahoma" pitchFamily="-107" charset="0"/>
              </a:rPr>
              <a:t>- To be Discusse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31729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provide opportunities to share experience and discuss with others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expand patient types as experience is gained – give different ‘pegs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Monitors feedback &amp; safety signals in JYSELECA patient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fficac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Safe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Profile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atient identification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Corporate support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and Patient Support Servic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5312229"/>
            <a:ext cx="1891780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i="1">
                <a:solidFill>
                  <a:srgbClr val="000000"/>
                </a:solidFill>
                <a:latin typeface="Tahoma" pitchFamily="-107" charset="0"/>
              </a:rPr>
              <a:t>- To be Discusse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6"/>
            <a:ext cx="1850151" cy="31972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KOL opportunities – keeping in mind loyalty can prob not be expected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consolidate experience to lead to JAK of choice ‘peg’]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consolidate experience and </a:t>
            </a:r>
            <a:r>
              <a:rPr lang="en-US" sz="800" err="1">
                <a:solidFill>
                  <a:srgbClr val="000000"/>
                </a:solidFill>
              </a:rPr>
              <a:t>ptn</a:t>
            </a:r>
            <a:r>
              <a:rPr lang="en-US" sz="800">
                <a:solidFill>
                  <a:srgbClr val="000000"/>
                </a:solidFill>
              </a:rPr>
              <a:t> feedback to lead to JAK of choice ‘peg’ and 1L use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 Topic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Corporate support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and Patient Support Service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artnership opportunities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5296554"/>
            <a:ext cx="1850151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i="1">
                <a:solidFill>
                  <a:srgbClr val="000000"/>
                </a:solidFill>
                <a:latin typeface="Tahoma" pitchFamily="-107" charset="0"/>
              </a:rPr>
              <a:t>- To be Discusse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>
              <a:solidFill>
                <a:srgbClr val="FFFFFF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91E1D24-3F00-475E-AF4F-E5BAA97A3B9B}"/>
              </a:ext>
            </a:extLst>
          </p:cNvPr>
          <p:cNvSpPr/>
          <p:nvPr/>
        </p:nvSpPr>
        <p:spPr bwMode="auto">
          <a:xfrm>
            <a:off x="7722127" y="6418504"/>
            <a:ext cx="4042162" cy="366253"/>
          </a:xfrm>
          <a:prstGeom prst="rect">
            <a:avLst/>
          </a:prstGeom>
          <a:solidFill>
            <a:srgbClr val="7B8C4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Summary of Workshop Discussion (2 of 2)</a:t>
            </a:r>
            <a:endParaRPr kumimoji="0" lang="en-GB" sz="1600" i="1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00911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2.xml><?xml version="1.0" encoding="utf-8"?>
<a:theme xmlns:a="http://schemas.openxmlformats.org/drawingml/2006/main" name="9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3.xml><?xml version="1.0" encoding="utf-8"?>
<a:theme xmlns:a="http://schemas.openxmlformats.org/drawingml/2006/main" name="16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4.xml><?xml version="1.0" encoding="utf-8"?>
<a:theme xmlns:a="http://schemas.openxmlformats.org/drawingml/2006/main" name="10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5.xml><?xml version="1.0" encoding="utf-8"?>
<a:theme xmlns:a="http://schemas.openxmlformats.org/drawingml/2006/main" name="1_Office Theme">
  <a:themeElements>
    <a:clrScheme name="BRAND X_edit">
      <a:dk1>
        <a:srgbClr val="000000"/>
      </a:dk1>
      <a:lt1>
        <a:srgbClr val="FFFFFF"/>
      </a:lt1>
      <a:dk2>
        <a:srgbClr val="585858"/>
      </a:dk2>
      <a:lt2>
        <a:srgbClr val="F4F4F4"/>
      </a:lt2>
      <a:accent1>
        <a:srgbClr val="005DAB"/>
      </a:accent1>
      <a:accent2>
        <a:srgbClr val="A3C8C8"/>
      </a:accent2>
      <a:accent3>
        <a:srgbClr val="A5A6A5"/>
      </a:accent3>
      <a:accent4>
        <a:srgbClr val="A0B266"/>
      </a:accent4>
      <a:accent5>
        <a:srgbClr val="DEB3A8"/>
      </a:accent5>
      <a:accent6>
        <a:srgbClr val="C1B29C"/>
      </a:accent6>
      <a:hlink>
        <a:srgbClr val="005DAB"/>
      </a:hlink>
      <a:folHlink>
        <a:srgbClr val="A4C8C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32E8A18-3918-47B5-9233-40180F41F915}">
  <ds:schemaRefs>
    <ds:schemaRef ds:uri="0d8c423f-ad67-45a2-8b05-97a43a5b7821"/>
    <ds:schemaRef ds:uri="ead0e857-dec6-4b1e-afd3-48dbfac7dd4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DBC45DE-C19C-4CE4-946A-1E602C99AF6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6BC718-F74B-4813-A1DE-F21DD9659DBA}">
  <ds:schemaRefs>
    <ds:schemaRef ds:uri="0d8c423f-ad67-45a2-8b05-97a43a5b7821"/>
    <ds:schemaRef ds:uri="ead0e857-dec6-4b1e-afd3-48dbfac7dd4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82</Words>
  <Application>Microsoft Macintosh PowerPoint</Application>
  <PresentationFormat>Widescreen</PresentationFormat>
  <Paragraphs>206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6" baseType="lpstr">
      <vt:lpstr>Arial</vt:lpstr>
      <vt:lpstr>Calibri</vt:lpstr>
      <vt:lpstr>Calibri Light</vt:lpstr>
      <vt:lpstr>Tahoma</vt:lpstr>
      <vt:lpstr>Times</vt:lpstr>
      <vt:lpstr>Wingdings</vt:lpstr>
      <vt:lpstr>Galapagos_template_Basic</vt:lpstr>
      <vt:lpstr>9_Galapagos_template_Basic</vt:lpstr>
      <vt:lpstr>16_Galapagos_template_Basic</vt:lpstr>
      <vt:lpstr>10_Galapagos_template_Basic</vt:lpstr>
      <vt:lpstr>1_Office Theme</vt:lpstr>
      <vt:lpstr>think-cell Slide</vt:lpstr>
      <vt:lpstr>Document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option Ladder Workshop 1</dc:title>
  <dc:creator>Gareth Allott</dc:creator>
  <cp:lastModifiedBy>Alexandre Raynaud</cp:lastModifiedBy>
  <cp:revision>2</cp:revision>
  <dcterms:created xsi:type="dcterms:W3CDTF">2021-03-21T09:15:38Z</dcterms:created>
  <dcterms:modified xsi:type="dcterms:W3CDTF">2021-03-30T12:44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